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7" r:id="rId3"/>
  </p:sldIdLst>
  <p:sldSz cx="7556500" cy="10693400"/>
  <p:notesSz cx="7556500" cy="106934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</p:embeddedFontLst>
  <p:custDataLst>
    <p:tags r:id="rId8"/>
  </p:custDataLst>
  <p:defaultTextStyle/>
  <p:extLst>
    <p:ext uri="{EFAFB233-063F-42B5-8137-9DF3F51BA10A}">
      <p15:sldGuideLst xmlns:p15="http://schemas.microsoft.com/office/powerpoint/2012/main">
        <p15:guide id="1" orient="horz" pos="3368" userDrawn="1">
          <p15:clr>
            <a:srgbClr val="A4A3A4"/>
          </p15:clr>
        </p15:guide>
        <p15:guide id="2" pos="23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1869" y="39"/>
      </p:cViewPr>
      <p:guideLst>
        <p:guide orient="horz" pos="3368"/>
        <p:guide pos="23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font" Target="fonts/font4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heme" Target="theme/theme1.xml"/><Relationship Id="rId5" Type="http://schemas.openxmlformats.org/officeDocument/2006/relationships/font" Target="fonts/font2.fntdata"/><Relationship Id="rId10" Type="http://schemas.openxmlformats.org/officeDocument/2006/relationships/viewProps" Target="viewProps.xml"/><Relationship Id="rId4" Type="http://schemas.openxmlformats.org/officeDocument/2006/relationships/font" Target="fonts/font1.fntdata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ence Prémont" userId="b317532c18e0371d" providerId="LiveId" clId="{91C2F304-68E7-4B27-A234-75D27DCB3DF4}"/>
    <pc:docChg chg="modSld">
      <pc:chgData name="Florence Prémont" userId="b317532c18e0371d" providerId="LiveId" clId="{91C2F304-68E7-4B27-A234-75D27DCB3DF4}" dt="2021-11-23T09:22:45.921" v="24" actId="14100"/>
      <pc:docMkLst>
        <pc:docMk/>
      </pc:docMkLst>
      <pc:sldChg chg="modSp mod">
        <pc:chgData name="Florence Prémont" userId="b317532c18e0371d" providerId="LiveId" clId="{91C2F304-68E7-4B27-A234-75D27DCB3DF4}" dt="2021-11-23T09:22:45.921" v="24" actId="14100"/>
        <pc:sldMkLst>
          <pc:docMk/>
          <pc:sldMk cId="0" sldId="257"/>
        </pc:sldMkLst>
        <pc:spChg chg="mod">
          <ac:chgData name="Florence Prémont" userId="b317532c18e0371d" providerId="LiveId" clId="{91C2F304-68E7-4B27-A234-75D27DCB3DF4}" dt="2021-11-23T09:22:33.227" v="23" actId="20577"/>
          <ac:spMkLst>
            <pc:docMk/>
            <pc:sldMk cId="0" sldId="257"/>
            <ac:spMk id="168" creationId="{5092CAB8-5AFE-49EC-AA6C-48480F396653}"/>
          </ac:spMkLst>
        </pc:spChg>
        <pc:spChg chg="mod">
          <ac:chgData name="Florence Prémont" userId="b317532c18e0371d" providerId="LiveId" clId="{91C2F304-68E7-4B27-A234-75D27DCB3DF4}" dt="2021-11-23T09:22:45.921" v="24" actId="14100"/>
          <ac:spMkLst>
            <pc:docMk/>
            <pc:sldMk cId="0" sldId="257"/>
            <ac:spMk id="367" creationId="{00000000-0000-0000-0000-0000000000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6C6B19-4AE3-4B6C-8312-3A3E63A6AF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597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6C6B19-4AE3-4B6C-8312-3A3E63A6AF1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385158-7767-4A47-AC3B-0DF9D320A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161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385158-7767-4A47-AC3B-0DF9D320A6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Freeform 101"/>
          <p:cNvSpPr/>
          <p:nvPr/>
        </p:nvSpPr>
        <p:spPr>
          <a:xfrm>
            <a:off x="1167383" y="3299456"/>
            <a:ext cx="5225795" cy="188975"/>
          </a:xfrm>
          <a:custGeom>
            <a:avLst/>
            <a:gdLst/>
            <a:ahLst/>
            <a:cxnLst/>
            <a:rect l="0" t="0" r="0" b="0"/>
            <a:pathLst>
              <a:path w="43548300" h="1574800">
                <a:moveTo>
                  <a:pt x="0" y="1574800"/>
                </a:moveTo>
                <a:lnTo>
                  <a:pt x="43548300" y="1574800"/>
                </a:lnTo>
                <a:lnTo>
                  <a:pt x="43548300" y="0"/>
                </a:lnTo>
                <a:lnTo>
                  <a:pt x="0" y="0"/>
                </a:lnTo>
                <a:lnTo>
                  <a:pt x="0" y="15748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52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2" name="Freeform 102"/>
          <p:cNvSpPr/>
          <p:nvPr/>
        </p:nvSpPr>
        <p:spPr>
          <a:xfrm>
            <a:off x="1167383" y="3514340"/>
            <a:ext cx="5225795" cy="190499"/>
          </a:xfrm>
          <a:custGeom>
            <a:avLst/>
            <a:gdLst/>
            <a:ahLst/>
            <a:cxnLst/>
            <a:rect l="0" t="0" r="0" b="0"/>
            <a:pathLst>
              <a:path w="43548300" h="1587500">
                <a:moveTo>
                  <a:pt x="0" y="1587500"/>
                </a:moveTo>
                <a:lnTo>
                  <a:pt x="43548300" y="1587500"/>
                </a:lnTo>
                <a:lnTo>
                  <a:pt x="43548300" y="0"/>
                </a:lnTo>
                <a:lnTo>
                  <a:pt x="0" y="0"/>
                </a:lnTo>
                <a:lnTo>
                  <a:pt x="0" y="15875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52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pic>
        <p:nvPicPr>
          <p:cNvPr id="103" name="Picture 103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66900" y="900679"/>
            <a:ext cx="3828288" cy="2042160"/>
          </a:xfrm>
          <a:prstGeom prst="rect">
            <a:avLst/>
          </a:prstGeom>
          <a:noFill/>
        </p:spPr>
      </p:pic>
      <p:pic>
        <p:nvPicPr>
          <p:cNvPr id="104" name="Picture 104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28744" y="4907276"/>
            <a:ext cx="454151" cy="454151"/>
          </a:xfrm>
          <a:prstGeom prst="rect">
            <a:avLst/>
          </a:prstGeom>
          <a:noFill/>
        </p:spPr>
      </p:pic>
      <p:pic>
        <p:nvPicPr>
          <p:cNvPr id="105" name="Picture 105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99816" y="8096499"/>
            <a:ext cx="432816" cy="432816"/>
          </a:xfrm>
          <a:prstGeom prst="rect">
            <a:avLst/>
          </a:prstGeom>
          <a:noFill/>
        </p:spPr>
      </p:pic>
      <p:sp>
        <p:nvSpPr>
          <p:cNvPr id="106" name="Freeform 106"/>
          <p:cNvSpPr/>
          <p:nvPr/>
        </p:nvSpPr>
        <p:spPr>
          <a:xfrm>
            <a:off x="1295399" y="4951472"/>
            <a:ext cx="1514855" cy="419099"/>
          </a:xfrm>
          <a:custGeom>
            <a:avLst/>
            <a:gdLst/>
            <a:ahLst/>
            <a:cxnLst/>
            <a:rect l="0" t="0" r="0" b="0"/>
            <a:pathLst>
              <a:path w="12623800" h="3492500">
                <a:moveTo>
                  <a:pt x="0" y="584200"/>
                </a:moveTo>
                <a:cubicBezTo>
                  <a:pt x="0" y="254000"/>
                  <a:pt x="266700" y="0"/>
                  <a:pt x="584200" y="0"/>
                </a:cubicBezTo>
                <a:lnTo>
                  <a:pt x="12039600" y="0"/>
                </a:lnTo>
                <a:cubicBezTo>
                  <a:pt x="12357100" y="0"/>
                  <a:pt x="12623800" y="254000"/>
                  <a:pt x="12623800" y="584200"/>
                </a:cubicBezTo>
                <a:lnTo>
                  <a:pt x="12623800" y="2908300"/>
                </a:lnTo>
                <a:cubicBezTo>
                  <a:pt x="12623800" y="3225800"/>
                  <a:pt x="12357100" y="3492500"/>
                  <a:pt x="12039600" y="3492500"/>
                </a:cubicBezTo>
                <a:lnTo>
                  <a:pt x="584200" y="3492500"/>
                </a:lnTo>
                <a:cubicBezTo>
                  <a:pt x="266700" y="3492500"/>
                  <a:pt x="0" y="3225800"/>
                  <a:pt x="0" y="2908300"/>
                </a:cubicBezTo>
              </a:path>
            </a:pathLst>
          </a:custGeom>
          <a:solidFill>
            <a:srgbClr val="FFC000">
              <a:alpha val="100000"/>
            </a:srgbClr>
          </a:solidFill>
          <a:ln w="152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7" name="Freeform 107"/>
          <p:cNvSpPr/>
          <p:nvPr/>
        </p:nvSpPr>
        <p:spPr>
          <a:xfrm>
            <a:off x="1295399" y="4951472"/>
            <a:ext cx="1514855" cy="419099"/>
          </a:xfrm>
          <a:custGeom>
            <a:avLst/>
            <a:gdLst/>
            <a:ahLst/>
            <a:cxnLst/>
            <a:rect l="0" t="0" r="0" b="0"/>
            <a:pathLst>
              <a:path w="12623800" h="3492500">
                <a:moveTo>
                  <a:pt x="0" y="584200"/>
                </a:moveTo>
                <a:cubicBezTo>
                  <a:pt x="0" y="254000"/>
                  <a:pt x="266700" y="0"/>
                  <a:pt x="584200" y="0"/>
                </a:cubicBezTo>
                <a:lnTo>
                  <a:pt x="12039600" y="0"/>
                </a:lnTo>
                <a:cubicBezTo>
                  <a:pt x="12357100" y="0"/>
                  <a:pt x="12623800" y="254000"/>
                  <a:pt x="12623800" y="584200"/>
                </a:cubicBezTo>
                <a:lnTo>
                  <a:pt x="12623800" y="2908300"/>
                </a:lnTo>
                <a:cubicBezTo>
                  <a:pt x="12623800" y="3225800"/>
                  <a:pt x="12357100" y="3492500"/>
                  <a:pt x="12039600" y="3492500"/>
                </a:cubicBezTo>
                <a:lnTo>
                  <a:pt x="584200" y="3492500"/>
                </a:lnTo>
                <a:cubicBezTo>
                  <a:pt x="266700" y="3492500"/>
                  <a:pt x="0" y="3225800"/>
                  <a:pt x="0" y="2908300"/>
                </a:cubicBezTo>
                <a:close/>
                <a:moveTo>
                  <a:pt x="36470208" y="478494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8" name="Freeform 108"/>
          <p:cNvSpPr/>
          <p:nvPr/>
        </p:nvSpPr>
        <p:spPr>
          <a:xfrm>
            <a:off x="3029711" y="4913372"/>
            <a:ext cx="932687" cy="448055"/>
          </a:xfrm>
          <a:custGeom>
            <a:avLst/>
            <a:gdLst/>
            <a:ahLst/>
            <a:cxnLst/>
            <a:rect l="0" t="0" r="0" b="0"/>
            <a:pathLst>
              <a:path w="7772400" h="3733800">
                <a:moveTo>
                  <a:pt x="3886200" y="3733800"/>
                </a:moveTo>
                <a:cubicBezTo>
                  <a:pt x="1739900" y="3733800"/>
                  <a:pt x="0" y="2895600"/>
                  <a:pt x="0" y="1866900"/>
                </a:cubicBezTo>
                <a:cubicBezTo>
                  <a:pt x="0" y="838200"/>
                  <a:pt x="1739900" y="0"/>
                  <a:pt x="3886200" y="0"/>
                </a:cubicBezTo>
                <a:cubicBezTo>
                  <a:pt x="6032500" y="0"/>
                  <a:pt x="7772400" y="838200"/>
                  <a:pt x="7772400" y="1866900"/>
                </a:cubicBezTo>
                <a:cubicBezTo>
                  <a:pt x="7772400" y="2362200"/>
                  <a:pt x="7366000" y="2832100"/>
                  <a:pt x="6642100" y="3187700"/>
                </a:cubicBezTo>
                <a:lnTo>
                  <a:pt x="7772400" y="3187700"/>
                </a:lnTo>
                <a:lnTo>
                  <a:pt x="7772400" y="3733800"/>
                </a:lnTo>
              </a:path>
            </a:pathLst>
          </a:custGeom>
          <a:solidFill>
            <a:srgbClr val="92D05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9" name="Freeform 109"/>
          <p:cNvSpPr/>
          <p:nvPr/>
        </p:nvSpPr>
        <p:spPr>
          <a:xfrm>
            <a:off x="3029711" y="4913372"/>
            <a:ext cx="932687" cy="448055"/>
          </a:xfrm>
          <a:custGeom>
            <a:avLst/>
            <a:gdLst/>
            <a:ahLst/>
            <a:cxnLst/>
            <a:rect l="0" t="0" r="0" b="0"/>
            <a:pathLst>
              <a:path w="7772400" h="3733800">
                <a:moveTo>
                  <a:pt x="3886200" y="3733800"/>
                </a:moveTo>
                <a:cubicBezTo>
                  <a:pt x="1739900" y="3733800"/>
                  <a:pt x="0" y="2895600"/>
                  <a:pt x="0" y="1866900"/>
                </a:cubicBezTo>
                <a:cubicBezTo>
                  <a:pt x="0" y="838200"/>
                  <a:pt x="1739900" y="0"/>
                  <a:pt x="3886200" y="0"/>
                </a:cubicBezTo>
                <a:cubicBezTo>
                  <a:pt x="6032500" y="0"/>
                  <a:pt x="7772400" y="838200"/>
                  <a:pt x="7772400" y="1866900"/>
                </a:cubicBezTo>
                <a:cubicBezTo>
                  <a:pt x="7772400" y="2362200"/>
                  <a:pt x="7366000" y="2832100"/>
                  <a:pt x="6642100" y="3187700"/>
                </a:cubicBezTo>
                <a:lnTo>
                  <a:pt x="7772400" y="3187700"/>
                </a:lnTo>
                <a:lnTo>
                  <a:pt x="7772400" y="3733800"/>
                </a:lnTo>
                <a:close/>
                <a:moveTo>
                  <a:pt x="19185508" y="481669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0" name="Freeform 110"/>
          <p:cNvSpPr/>
          <p:nvPr/>
        </p:nvSpPr>
        <p:spPr>
          <a:xfrm>
            <a:off x="3610355" y="5801864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300">
                <a:moveTo>
                  <a:pt x="0" y="2019300"/>
                </a:moveTo>
                <a:lnTo>
                  <a:pt x="1016000" y="1016000"/>
                </a:lnTo>
                <a:lnTo>
                  <a:pt x="1016000" y="1511300"/>
                </a:lnTo>
                <a:lnTo>
                  <a:pt x="2019300" y="15113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11300"/>
                </a:lnTo>
                <a:lnTo>
                  <a:pt x="15265400" y="1511300"/>
                </a:lnTo>
                <a:lnTo>
                  <a:pt x="15265400" y="1016000"/>
                </a:lnTo>
                <a:lnTo>
                  <a:pt x="162687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51300"/>
                </a:lnTo>
                <a:lnTo>
                  <a:pt x="2019300" y="4051300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</a:path>
            </a:pathLst>
          </a:custGeom>
          <a:solidFill>
            <a:srgbClr val="4472C4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1" name="Freeform 111"/>
          <p:cNvSpPr/>
          <p:nvPr/>
        </p:nvSpPr>
        <p:spPr>
          <a:xfrm>
            <a:off x="3610355" y="5801864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300">
                <a:moveTo>
                  <a:pt x="0" y="2019300"/>
                </a:moveTo>
                <a:lnTo>
                  <a:pt x="1016000" y="1016000"/>
                </a:lnTo>
                <a:lnTo>
                  <a:pt x="1016000" y="1511300"/>
                </a:lnTo>
                <a:lnTo>
                  <a:pt x="2019300" y="15113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11300"/>
                </a:lnTo>
                <a:lnTo>
                  <a:pt x="15265400" y="1511300"/>
                </a:lnTo>
                <a:lnTo>
                  <a:pt x="15265400" y="1016000"/>
                </a:lnTo>
                <a:lnTo>
                  <a:pt x="162687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51300"/>
                </a:lnTo>
                <a:lnTo>
                  <a:pt x="2019300" y="4051300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  <a:close/>
                <a:moveTo>
                  <a:pt x="8657208" y="407628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2" name="Freeform 112"/>
          <p:cNvSpPr/>
          <p:nvPr/>
        </p:nvSpPr>
        <p:spPr>
          <a:xfrm>
            <a:off x="1098395" y="5799832"/>
            <a:ext cx="1442518" cy="419099"/>
          </a:xfrm>
          <a:custGeom>
            <a:avLst/>
            <a:gdLst/>
            <a:ahLst/>
            <a:cxnLst/>
            <a:rect l="0" t="0" r="0" b="0"/>
            <a:pathLst>
              <a:path w="12141200" h="3492500">
                <a:moveTo>
                  <a:pt x="0" y="571500"/>
                </a:moveTo>
                <a:cubicBezTo>
                  <a:pt x="0" y="254000"/>
                  <a:pt x="266700" y="0"/>
                  <a:pt x="584200" y="0"/>
                </a:cubicBezTo>
                <a:lnTo>
                  <a:pt x="11569700" y="0"/>
                </a:lnTo>
                <a:cubicBezTo>
                  <a:pt x="11887200" y="0"/>
                  <a:pt x="12141200" y="254000"/>
                  <a:pt x="12141200" y="571500"/>
                </a:cubicBezTo>
                <a:lnTo>
                  <a:pt x="12141200" y="2908300"/>
                </a:lnTo>
                <a:cubicBezTo>
                  <a:pt x="12141200" y="3225800"/>
                  <a:pt x="11887200" y="3492500"/>
                  <a:pt x="11569700" y="3492500"/>
                </a:cubicBezTo>
                <a:lnTo>
                  <a:pt x="584200" y="3492500"/>
                </a:lnTo>
                <a:cubicBezTo>
                  <a:pt x="266700" y="3492500"/>
                  <a:pt x="0" y="3225800"/>
                  <a:pt x="0" y="2908300"/>
                </a:cubicBezTo>
              </a:path>
            </a:pathLst>
          </a:custGeom>
          <a:solidFill>
            <a:srgbClr val="FFC00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3" name="Freeform 113"/>
          <p:cNvSpPr/>
          <p:nvPr/>
        </p:nvSpPr>
        <p:spPr>
          <a:xfrm>
            <a:off x="1095755" y="5800540"/>
            <a:ext cx="1456943" cy="419099"/>
          </a:xfrm>
          <a:custGeom>
            <a:avLst/>
            <a:gdLst/>
            <a:ahLst/>
            <a:cxnLst/>
            <a:rect l="0" t="0" r="0" b="0"/>
            <a:pathLst>
              <a:path w="12141200" h="3492500">
                <a:moveTo>
                  <a:pt x="0" y="571500"/>
                </a:moveTo>
                <a:cubicBezTo>
                  <a:pt x="0" y="254000"/>
                  <a:pt x="266700" y="0"/>
                  <a:pt x="584200" y="0"/>
                </a:cubicBezTo>
                <a:lnTo>
                  <a:pt x="11569700" y="0"/>
                </a:lnTo>
                <a:cubicBezTo>
                  <a:pt x="11887200" y="0"/>
                  <a:pt x="12141200" y="254000"/>
                  <a:pt x="12141200" y="571500"/>
                </a:cubicBezTo>
                <a:lnTo>
                  <a:pt x="12141200" y="2908300"/>
                </a:lnTo>
                <a:cubicBezTo>
                  <a:pt x="12141200" y="3225800"/>
                  <a:pt x="11887200" y="3492500"/>
                  <a:pt x="11569700" y="3492500"/>
                </a:cubicBezTo>
                <a:lnTo>
                  <a:pt x="584200" y="3492500"/>
                </a:lnTo>
                <a:cubicBezTo>
                  <a:pt x="266700" y="3492500"/>
                  <a:pt x="0" y="3225800"/>
                  <a:pt x="0" y="2908300"/>
                </a:cubicBezTo>
                <a:close/>
                <a:moveTo>
                  <a:pt x="31479108" y="408644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4" name="Freeform 114"/>
          <p:cNvSpPr/>
          <p:nvPr/>
        </p:nvSpPr>
        <p:spPr>
          <a:xfrm>
            <a:off x="2590799" y="5798816"/>
            <a:ext cx="952499" cy="448055"/>
          </a:xfrm>
          <a:custGeom>
            <a:avLst/>
            <a:gdLst/>
            <a:ahLst/>
            <a:cxnLst/>
            <a:rect l="0" t="0" r="0" b="0"/>
            <a:pathLst>
              <a:path w="7937500" h="3733800">
                <a:moveTo>
                  <a:pt x="3975100" y="3733800"/>
                </a:moveTo>
                <a:cubicBezTo>
                  <a:pt x="1778000" y="3733800"/>
                  <a:pt x="0" y="2895600"/>
                  <a:pt x="0" y="1866900"/>
                </a:cubicBezTo>
                <a:cubicBezTo>
                  <a:pt x="0" y="838200"/>
                  <a:pt x="1778000" y="0"/>
                  <a:pt x="3975100" y="0"/>
                </a:cubicBezTo>
                <a:cubicBezTo>
                  <a:pt x="6172200" y="0"/>
                  <a:pt x="7937500" y="838200"/>
                  <a:pt x="7937500" y="1866900"/>
                </a:cubicBezTo>
                <a:cubicBezTo>
                  <a:pt x="7937500" y="2362200"/>
                  <a:pt x="7531100" y="2832100"/>
                  <a:pt x="6781800" y="3187700"/>
                </a:cubicBezTo>
                <a:lnTo>
                  <a:pt x="7937500" y="3187700"/>
                </a:lnTo>
                <a:lnTo>
                  <a:pt x="7937500" y="3733800"/>
                </a:lnTo>
              </a:path>
            </a:pathLst>
          </a:custGeom>
          <a:solidFill>
            <a:srgbClr val="92D05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5" name="Freeform 115"/>
          <p:cNvSpPr/>
          <p:nvPr/>
        </p:nvSpPr>
        <p:spPr>
          <a:xfrm>
            <a:off x="2590799" y="5798816"/>
            <a:ext cx="952499" cy="448055"/>
          </a:xfrm>
          <a:custGeom>
            <a:avLst/>
            <a:gdLst/>
            <a:ahLst/>
            <a:cxnLst/>
            <a:rect l="0" t="0" r="0" b="0"/>
            <a:pathLst>
              <a:path w="7937500" h="3733800">
                <a:moveTo>
                  <a:pt x="3975100" y="3733800"/>
                </a:moveTo>
                <a:cubicBezTo>
                  <a:pt x="1778000" y="3733800"/>
                  <a:pt x="0" y="2895600"/>
                  <a:pt x="0" y="1866900"/>
                </a:cubicBezTo>
                <a:cubicBezTo>
                  <a:pt x="0" y="838200"/>
                  <a:pt x="1778000" y="0"/>
                  <a:pt x="3975100" y="0"/>
                </a:cubicBezTo>
                <a:cubicBezTo>
                  <a:pt x="6172200" y="0"/>
                  <a:pt x="7937500" y="838200"/>
                  <a:pt x="7937500" y="1866900"/>
                </a:cubicBezTo>
                <a:cubicBezTo>
                  <a:pt x="7937500" y="2362200"/>
                  <a:pt x="7531100" y="2832100"/>
                  <a:pt x="6781800" y="3187700"/>
                </a:cubicBezTo>
                <a:lnTo>
                  <a:pt x="7937500" y="3187700"/>
                </a:lnTo>
                <a:lnTo>
                  <a:pt x="7937500" y="3733800"/>
                </a:lnTo>
                <a:close/>
                <a:moveTo>
                  <a:pt x="15464408" y="407882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6" name="Freeform 116"/>
          <p:cNvSpPr/>
          <p:nvPr/>
        </p:nvSpPr>
        <p:spPr>
          <a:xfrm>
            <a:off x="5632703" y="5827772"/>
            <a:ext cx="999743" cy="448055"/>
          </a:xfrm>
          <a:custGeom>
            <a:avLst/>
            <a:gdLst/>
            <a:ahLst/>
            <a:cxnLst/>
            <a:rect l="0" t="0" r="0" b="0"/>
            <a:pathLst>
              <a:path w="8331200" h="3733800">
                <a:moveTo>
                  <a:pt x="4165600" y="3733800"/>
                </a:moveTo>
                <a:cubicBezTo>
                  <a:pt x="1866900" y="3733800"/>
                  <a:pt x="0" y="2895600"/>
                  <a:pt x="0" y="1866900"/>
                </a:cubicBezTo>
                <a:cubicBezTo>
                  <a:pt x="0" y="838200"/>
                  <a:pt x="1866900" y="0"/>
                  <a:pt x="4165600" y="0"/>
                </a:cubicBezTo>
                <a:cubicBezTo>
                  <a:pt x="6464300" y="0"/>
                  <a:pt x="8331200" y="838200"/>
                  <a:pt x="8331200" y="1866900"/>
                </a:cubicBezTo>
                <a:cubicBezTo>
                  <a:pt x="8331200" y="2362200"/>
                  <a:pt x="7899400" y="2832100"/>
                  <a:pt x="7112000" y="3187700"/>
                </a:cubicBezTo>
                <a:lnTo>
                  <a:pt x="8331200" y="3187700"/>
                </a:lnTo>
                <a:lnTo>
                  <a:pt x="8331200" y="3733800"/>
                </a:lnTo>
              </a:path>
            </a:pathLst>
          </a:custGeom>
          <a:solidFill>
            <a:srgbClr val="92D05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7" name="Freeform 117"/>
          <p:cNvSpPr/>
          <p:nvPr/>
        </p:nvSpPr>
        <p:spPr>
          <a:xfrm>
            <a:off x="5632703" y="5827772"/>
            <a:ext cx="999743" cy="448055"/>
          </a:xfrm>
          <a:custGeom>
            <a:avLst/>
            <a:gdLst/>
            <a:ahLst/>
            <a:cxnLst/>
            <a:rect l="0" t="0" r="0" b="0"/>
            <a:pathLst>
              <a:path w="8331200" h="3733800">
                <a:moveTo>
                  <a:pt x="4165600" y="3733800"/>
                </a:moveTo>
                <a:cubicBezTo>
                  <a:pt x="1866900" y="3733800"/>
                  <a:pt x="0" y="2895600"/>
                  <a:pt x="0" y="1866900"/>
                </a:cubicBezTo>
                <a:cubicBezTo>
                  <a:pt x="0" y="838200"/>
                  <a:pt x="1866900" y="0"/>
                  <a:pt x="4165600" y="0"/>
                </a:cubicBezTo>
                <a:cubicBezTo>
                  <a:pt x="6464300" y="0"/>
                  <a:pt x="8331200" y="838200"/>
                  <a:pt x="8331200" y="1866900"/>
                </a:cubicBezTo>
                <a:cubicBezTo>
                  <a:pt x="8331200" y="2362200"/>
                  <a:pt x="7899400" y="2832100"/>
                  <a:pt x="7112000" y="3187700"/>
                </a:cubicBezTo>
                <a:lnTo>
                  <a:pt x="8331200" y="3187700"/>
                </a:lnTo>
                <a:lnTo>
                  <a:pt x="8331200" y="3733800"/>
                </a:lnTo>
                <a:close/>
                <a:moveTo>
                  <a:pt x="-10126092" y="405469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8" name="Freeform 118"/>
          <p:cNvSpPr/>
          <p:nvPr/>
        </p:nvSpPr>
        <p:spPr>
          <a:xfrm>
            <a:off x="900683" y="7485376"/>
            <a:ext cx="1286255" cy="419099"/>
          </a:xfrm>
          <a:custGeom>
            <a:avLst/>
            <a:gdLst/>
            <a:ahLst/>
            <a:cxnLst/>
            <a:rect l="0" t="0" r="0" b="0"/>
            <a:pathLst>
              <a:path w="10718800" h="3492499">
                <a:moveTo>
                  <a:pt x="0" y="584200"/>
                </a:moveTo>
                <a:cubicBezTo>
                  <a:pt x="0" y="266700"/>
                  <a:pt x="254000" y="0"/>
                  <a:pt x="584200" y="0"/>
                </a:cubicBezTo>
                <a:lnTo>
                  <a:pt x="10134600" y="0"/>
                </a:lnTo>
                <a:cubicBezTo>
                  <a:pt x="10452100" y="0"/>
                  <a:pt x="10718800" y="266700"/>
                  <a:pt x="10718800" y="584200"/>
                </a:cubicBezTo>
                <a:lnTo>
                  <a:pt x="10718800" y="2908299"/>
                </a:lnTo>
                <a:cubicBezTo>
                  <a:pt x="10718800" y="3225799"/>
                  <a:pt x="10452100" y="3492499"/>
                  <a:pt x="10134600" y="3492499"/>
                </a:cubicBezTo>
                <a:lnTo>
                  <a:pt x="584200" y="3492499"/>
                </a:lnTo>
                <a:cubicBezTo>
                  <a:pt x="254000" y="3492499"/>
                  <a:pt x="0" y="3225799"/>
                  <a:pt x="0" y="2908299"/>
                </a:cubicBezTo>
              </a:path>
            </a:pathLst>
          </a:custGeom>
          <a:solidFill>
            <a:srgbClr val="FFC00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19" name="Freeform 119"/>
          <p:cNvSpPr/>
          <p:nvPr/>
        </p:nvSpPr>
        <p:spPr>
          <a:xfrm>
            <a:off x="900683" y="7485376"/>
            <a:ext cx="1286255" cy="419099"/>
          </a:xfrm>
          <a:custGeom>
            <a:avLst/>
            <a:gdLst/>
            <a:ahLst/>
            <a:cxnLst/>
            <a:rect l="0" t="0" r="0" b="0"/>
            <a:pathLst>
              <a:path w="10718800" h="3492499">
                <a:moveTo>
                  <a:pt x="0" y="584200"/>
                </a:moveTo>
                <a:cubicBezTo>
                  <a:pt x="0" y="266700"/>
                  <a:pt x="254000" y="0"/>
                  <a:pt x="584200" y="0"/>
                </a:cubicBezTo>
                <a:lnTo>
                  <a:pt x="10134600" y="0"/>
                </a:lnTo>
                <a:cubicBezTo>
                  <a:pt x="10452100" y="0"/>
                  <a:pt x="10718800" y="266700"/>
                  <a:pt x="10718800" y="584200"/>
                </a:cubicBezTo>
                <a:lnTo>
                  <a:pt x="10718800" y="2908299"/>
                </a:lnTo>
                <a:cubicBezTo>
                  <a:pt x="10718800" y="3225799"/>
                  <a:pt x="10452100" y="3492499"/>
                  <a:pt x="10134600" y="3492499"/>
                </a:cubicBezTo>
                <a:lnTo>
                  <a:pt x="584200" y="3492499"/>
                </a:lnTo>
                <a:cubicBezTo>
                  <a:pt x="254000" y="3492499"/>
                  <a:pt x="0" y="3225799"/>
                  <a:pt x="0" y="2908299"/>
                </a:cubicBezTo>
                <a:close/>
                <a:moveTo>
                  <a:pt x="19998308" y="280882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0" name="Freeform 120"/>
          <p:cNvSpPr/>
          <p:nvPr/>
        </p:nvSpPr>
        <p:spPr>
          <a:xfrm>
            <a:off x="3314699" y="7503664"/>
            <a:ext cx="1371599" cy="419099"/>
          </a:xfrm>
          <a:custGeom>
            <a:avLst/>
            <a:gdLst/>
            <a:ahLst/>
            <a:cxnLst/>
            <a:rect l="0" t="0" r="0" b="0"/>
            <a:pathLst>
              <a:path w="11430000" h="3492499">
                <a:moveTo>
                  <a:pt x="0" y="584200"/>
                </a:moveTo>
                <a:cubicBezTo>
                  <a:pt x="0" y="266700"/>
                  <a:pt x="266700" y="0"/>
                  <a:pt x="584200" y="0"/>
                </a:cubicBezTo>
                <a:lnTo>
                  <a:pt x="10858500" y="0"/>
                </a:lnTo>
                <a:cubicBezTo>
                  <a:pt x="11176000" y="0"/>
                  <a:pt x="11430000" y="266700"/>
                  <a:pt x="11430000" y="584200"/>
                </a:cubicBezTo>
                <a:lnTo>
                  <a:pt x="11430000" y="2920999"/>
                </a:lnTo>
                <a:cubicBezTo>
                  <a:pt x="11430000" y="3238499"/>
                  <a:pt x="11176000" y="3492499"/>
                  <a:pt x="10858500" y="3492499"/>
                </a:cubicBezTo>
                <a:lnTo>
                  <a:pt x="584200" y="3492499"/>
                </a:lnTo>
                <a:cubicBezTo>
                  <a:pt x="266700" y="3492499"/>
                  <a:pt x="0" y="3238499"/>
                  <a:pt x="0" y="2920999"/>
                </a:cubicBezTo>
              </a:path>
            </a:pathLst>
          </a:custGeom>
          <a:solidFill>
            <a:srgbClr val="FFC00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1" name="Freeform 121"/>
          <p:cNvSpPr/>
          <p:nvPr/>
        </p:nvSpPr>
        <p:spPr>
          <a:xfrm>
            <a:off x="3314699" y="7503664"/>
            <a:ext cx="1371599" cy="419099"/>
          </a:xfrm>
          <a:custGeom>
            <a:avLst/>
            <a:gdLst/>
            <a:ahLst/>
            <a:cxnLst/>
            <a:rect l="0" t="0" r="0" b="0"/>
            <a:pathLst>
              <a:path w="11430000" h="3492499">
                <a:moveTo>
                  <a:pt x="0" y="584200"/>
                </a:moveTo>
                <a:cubicBezTo>
                  <a:pt x="0" y="266700"/>
                  <a:pt x="266700" y="0"/>
                  <a:pt x="584200" y="0"/>
                </a:cubicBezTo>
                <a:lnTo>
                  <a:pt x="10858500" y="0"/>
                </a:lnTo>
                <a:cubicBezTo>
                  <a:pt x="11176000" y="0"/>
                  <a:pt x="11430000" y="266700"/>
                  <a:pt x="11430000" y="584200"/>
                </a:cubicBezTo>
                <a:lnTo>
                  <a:pt x="11430000" y="2920999"/>
                </a:lnTo>
                <a:cubicBezTo>
                  <a:pt x="11430000" y="3238499"/>
                  <a:pt x="11176000" y="3492499"/>
                  <a:pt x="10858500" y="3492499"/>
                </a:cubicBezTo>
                <a:lnTo>
                  <a:pt x="584200" y="3492499"/>
                </a:lnTo>
                <a:cubicBezTo>
                  <a:pt x="266700" y="3492499"/>
                  <a:pt x="0" y="3238499"/>
                  <a:pt x="0" y="2920999"/>
                </a:cubicBezTo>
                <a:close/>
                <a:moveTo>
                  <a:pt x="-270892" y="279358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2" name="Freeform 122"/>
          <p:cNvSpPr/>
          <p:nvPr/>
        </p:nvSpPr>
        <p:spPr>
          <a:xfrm>
            <a:off x="2247899" y="7494520"/>
            <a:ext cx="963167" cy="448055"/>
          </a:xfrm>
          <a:custGeom>
            <a:avLst/>
            <a:gdLst/>
            <a:ahLst/>
            <a:cxnLst/>
            <a:rect l="0" t="0" r="0" b="0"/>
            <a:pathLst>
              <a:path w="8026400" h="3733799">
                <a:moveTo>
                  <a:pt x="4013200" y="3733799"/>
                </a:moveTo>
                <a:cubicBezTo>
                  <a:pt x="1803400" y="3733799"/>
                  <a:pt x="0" y="2895599"/>
                  <a:pt x="0" y="1866900"/>
                </a:cubicBezTo>
                <a:cubicBezTo>
                  <a:pt x="0" y="838200"/>
                  <a:pt x="1803400" y="0"/>
                  <a:pt x="4013200" y="0"/>
                </a:cubicBezTo>
                <a:cubicBezTo>
                  <a:pt x="6223000" y="0"/>
                  <a:pt x="8026400" y="838200"/>
                  <a:pt x="8026400" y="1866900"/>
                </a:cubicBezTo>
                <a:cubicBezTo>
                  <a:pt x="8026400" y="2362199"/>
                  <a:pt x="7594600" y="2832099"/>
                  <a:pt x="6845300" y="3187699"/>
                </a:cubicBezTo>
                <a:lnTo>
                  <a:pt x="8026400" y="3187699"/>
                </a:lnTo>
                <a:lnTo>
                  <a:pt x="8026400" y="3733799"/>
                </a:lnTo>
              </a:path>
            </a:pathLst>
          </a:custGeom>
          <a:solidFill>
            <a:srgbClr val="92D050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3" name="Freeform 123"/>
          <p:cNvSpPr/>
          <p:nvPr/>
        </p:nvSpPr>
        <p:spPr>
          <a:xfrm>
            <a:off x="2247899" y="7494520"/>
            <a:ext cx="963167" cy="448055"/>
          </a:xfrm>
          <a:custGeom>
            <a:avLst/>
            <a:gdLst/>
            <a:ahLst/>
            <a:cxnLst/>
            <a:rect l="0" t="0" r="0" b="0"/>
            <a:pathLst>
              <a:path w="8026400" h="3733799">
                <a:moveTo>
                  <a:pt x="4013200" y="3733799"/>
                </a:moveTo>
                <a:cubicBezTo>
                  <a:pt x="1803400" y="3733799"/>
                  <a:pt x="0" y="2895599"/>
                  <a:pt x="0" y="1866900"/>
                </a:cubicBezTo>
                <a:cubicBezTo>
                  <a:pt x="0" y="838200"/>
                  <a:pt x="1803400" y="0"/>
                  <a:pt x="4013200" y="0"/>
                </a:cubicBezTo>
                <a:cubicBezTo>
                  <a:pt x="6223000" y="0"/>
                  <a:pt x="8026400" y="838200"/>
                  <a:pt x="8026400" y="1866900"/>
                </a:cubicBezTo>
                <a:cubicBezTo>
                  <a:pt x="8026400" y="2362199"/>
                  <a:pt x="7594600" y="2832099"/>
                  <a:pt x="6845300" y="3187699"/>
                </a:cubicBezTo>
                <a:lnTo>
                  <a:pt x="8026400" y="3187699"/>
                </a:lnTo>
                <a:lnTo>
                  <a:pt x="8026400" y="3733799"/>
                </a:lnTo>
                <a:close/>
                <a:moveTo>
                  <a:pt x="5545709" y="280120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4" name="Freeform 124"/>
          <p:cNvSpPr/>
          <p:nvPr/>
        </p:nvSpPr>
        <p:spPr>
          <a:xfrm>
            <a:off x="4782311" y="7494520"/>
            <a:ext cx="2228087" cy="486155"/>
          </a:xfrm>
          <a:custGeom>
            <a:avLst/>
            <a:gdLst/>
            <a:ahLst/>
            <a:cxnLst/>
            <a:rect l="0" t="0" r="0" b="0"/>
            <a:pathLst>
              <a:path w="18567400" h="4051299">
                <a:moveTo>
                  <a:pt x="0" y="2019299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628900" y="1524000"/>
                </a:lnTo>
                <a:lnTo>
                  <a:pt x="2628900" y="0"/>
                </a:lnTo>
                <a:lnTo>
                  <a:pt x="15951200" y="0"/>
                </a:lnTo>
                <a:lnTo>
                  <a:pt x="15951200" y="1524000"/>
                </a:lnTo>
                <a:lnTo>
                  <a:pt x="17564100" y="1524000"/>
                </a:lnTo>
                <a:lnTo>
                  <a:pt x="17564100" y="1016000"/>
                </a:lnTo>
                <a:lnTo>
                  <a:pt x="18567400" y="2019299"/>
                </a:lnTo>
                <a:lnTo>
                  <a:pt x="17564100" y="3035299"/>
                </a:lnTo>
                <a:lnTo>
                  <a:pt x="17564100" y="2527299"/>
                </a:lnTo>
                <a:lnTo>
                  <a:pt x="15951200" y="2527299"/>
                </a:lnTo>
                <a:lnTo>
                  <a:pt x="15951200" y="4051299"/>
                </a:lnTo>
                <a:lnTo>
                  <a:pt x="2628900" y="4051299"/>
                </a:lnTo>
                <a:lnTo>
                  <a:pt x="2628900" y="2527299"/>
                </a:lnTo>
                <a:lnTo>
                  <a:pt x="1016000" y="2527299"/>
                </a:lnTo>
                <a:lnTo>
                  <a:pt x="1016000" y="3035299"/>
                </a:lnTo>
              </a:path>
            </a:pathLst>
          </a:custGeom>
          <a:solidFill>
            <a:srgbClr val="4472C4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25" name="Freeform 125"/>
          <p:cNvSpPr/>
          <p:nvPr/>
        </p:nvSpPr>
        <p:spPr>
          <a:xfrm>
            <a:off x="4782311" y="7494520"/>
            <a:ext cx="2228087" cy="486155"/>
          </a:xfrm>
          <a:custGeom>
            <a:avLst/>
            <a:gdLst/>
            <a:ahLst/>
            <a:cxnLst/>
            <a:rect l="0" t="0" r="0" b="0"/>
            <a:pathLst>
              <a:path w="18567400" h="4051299">
                <a:moveTo>
                  <a:pt x="0" y="2019299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628900" y="1524000"/>
                </a:lnTo>
                <a:lnTo>
                  <a:pt x="2628900" y="0"/>
                </a:lnTo>
                <a:lnTo>
                  <a:pt x="15951200" y="0"/>
                </a:lnTo>
                <a:lnTo>
                  <a:pt x="15951200" y="1524000"/>
                </a:lnTo>
                <a:lnTo>
                  <a:pt x="17564100" y="1524000"/>
                </a:lnTo>
                <a:lnTo>
                  <a:pt x="17564100" y="1016000"/>
                </a:lnTo>
                <a:lnTo>
                  <a:pt x="18567400" y="2019299"/>
                </a:lnTo>
                <a:lnTo>
                  <a:pt x="17564100" y="3035299"/>
                </a:lnTo>
                <a:lnTo>
                  <a:pt x="17564100" y="2527299"/>
                </a:lnTo>
                <a:lnTo>
                  <a:pt x="15951200" y="2527299"/>
                </a:lnTo>
                <a:lnTo>
                  <a:pt x="15951200" y="4051299"/>
                </a:lnTo>
                <a:lnTo>
                  <a:pt x="2628900" y="4051299"/>
                </a:lnTo>
                <a:lnTo>
                  <a:pt x="2628900" y="2527299"/>
                </a:lnTo>
                <a:lnTo>
                  <a:pt x="1016000" y="2527299"/>
                </a:lnTo>
                <a:lnTo>
                  <a:pt x="1016000" y="3035299"/>
                </a:lnTo>
                <a:close/>
                <a:moveTo>
                  <a:pt x="-13859891" y="280120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211" name="Rectangle 211"/>
          <p:cNvSpPr/>
          <p:nvPr/>
        </p:nvSpPr>
        <p:spPr>
          <a:xfrm>
            <a:off x="899163" y="4298076"/>
            <a:ext cx="2229778" cy="19928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295" b="1" i="0" spc="0" baseline="0" dirty="0">
                <a:solidFill>
                  <a:srgbClr val="333333"/>
                </a:solidFill>
                <a:latin typeface="Arial"/>
              </a:rPr>
              <a:t>8h45 : Accueil et lancement </a:t>
            </a:r>
          </a:p>
        </p:txBody>
      </p:sp>
      <p:sp>
        <p:nvSpPr>
          <p:cNvPr id="212" name="Rectangle 212"/>
          <p:cNvSpPr/>
          <p:nvPr/>
        </p:nvSpPr>
        <p:spPr>
          <a:xfrm>
            <a:off x="913678" y="4620439"/>
            <a:ext cx="5434180" cy="19928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295" b="1" i="0" spc="0" baseline="0" dirty="0">
                <a:solidFill>
                  <a:srgbClr val="333333"/>
                </a:solidFill>
                <a:latin typeface="Arial"/>
              </a:rPr>
              <a:t>9h30 - 13h00 : Enseignements, témoignages, partages et pause-café </a:t>
            </a:r>
          </a:p>
        </p:txBody>
      </p:sp>
      <p:sp>
        <p:nvSpPr>
          <p:cNvPr id="258" name="Rectangle 258"/>
          <p:cNvSpPr/>
          <p:nvPr/>
        </p:nvSpPr>
        <p:spPr>
          <a:xfrm>
            <a:off x="-5438550" y="7489089"/>
            <a:ext cx="2638042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>
              <a:tabLst>
                <a:tab pos="2638045" algn="l"/>
              </a:tabLst>
            </a:pPr>
            <a:r>
              <a:rPr lang="en-US" sz="1295" b="0" i="0" spc="0" baseline="0" dirty="0">
                <a:solidFill>
                  <a:srgbClr val="333333"/>
                </a:solidFill>
                <a:latin typeface="Arial"/>
              </a:rPr>
              <a:t>                                                	 </a:t>
            </a:r>
          </a:p>
        </p:txBody>
      </p:sp>
      <p:sp>
        <p:nvSpPr>
          <p:cNvPr id="310" name="Rectangle 310"/>
          <p:cNvSpPr/>
          <p:nvPr/>
        </p:nvSpPr>
        <p:spPr>
          <a:xfrm>
            <a:off x="-5484280" y="8013373"/>
            <a:ext cx="45730" cy="1894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295" b="0" i="0" spc="0" baseline="0" dirty="0">
                <a:solidFill>
                  <a:srgbClr val="333333"/>
                </a:solidFill>
                <a:latin typeface="Arial"/>
              </a:rPr>
              <a:t> </a:t>
            </a:r>
          </a:p>
        </p:txBody>
      </p:sp>
      <p:sp>
        <p:nvSpPr>
          <p:cNvPr id="313" name="Rectangle 313"/>
          <p:cNvSpPr/>
          <p:nvPr/>
        </p:nvSpPr>
        <p:spPr>
          <a:xfrm>
            <a:off x="1597910" y="5054131"/>
            <a:ext cx="2157647" cy="1512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1688591" algn="l"/>
              </a:tabLst>
            </a:pPr>
            <a:r>
              <a:rPr lang="en-US" sz="1103" b="0" i="0" spc="0" baseline="0" dirty="0">
                <a:latin typeface="Calibri,Bold"/>
              </a:rPr>
              <a:t>Enseignemen</a:t>
            </a:r>
            <a:r>
              <a:rPr lang="en-US" sz="1103" b="0" i="0" spc="-11" baseline="0" dirty="0">
                <a:latin typeface="Calibri,Bold"/>
              </a:rPr>
              <a:t>t</a:t>
            </a:r>
            <a:r>
              <a:rPr lang="en-US" sz="1103" b="0" i="0" spc="0" baseline="0" dirty="0">
                <a:latin typeface="Calibri,Bold"/>
              </a:rPr>
              <a:t> 1  	</a:t>
            </a:r>
            <a:r>
              <a:rPr lang="en-US" sz="1671" b="0" i="0" spc="0" baseline="-4347" dirty="0">
                <a:latin typeface="Calibri,Bold"/>
              </a:rPr>
              <a:t>Témoi</a:t>
            </a:r>
            <a:r>
              <a:rPr lang="en-US" sz="1671" b="0" i="0" spc="-16" baseline="-4347" dirty="0">
                <a:latin typeface="Calibri,Bold"/>
              </a:rPr>
              <a:t>n</a:t>
            </a:r>
            <a:r>
              <a:rPr lang="en-US" sz="1671" b="0" i="0" spc="0" baseline="-4347" dirty="0">
                <a:latin typeface="Calibri,Bold"/>
              </a:rPr>
              <a:t> </a:t>
            </a:r>
          </a:p>
        </p:txBody>
      </p:sp>
      <p:sp>
        <p:nvSpPr>
          <p:cNvPr id="315" name="Rectangle 315"/>
          <p:cNvSpPr/>
          <p:nvPr/>
        </p:nvSpPr>
        <p:spPr>
          <a:xfrm>
            <a:off x="1322831" y="5902824"/>
            <a:ext cx="5059342" cy="1983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1525523" algn="l"/>
                <a:tab pos="2950462" algn="l"/>
                <a:tab pos="4590286" algn="l"/>
              </a:tabLst>
            </a:pPr>
            <a:r>
              <a:rPr lang="en-US" sz="1672" b="0" i="0" spc="0" baseline="23276" dirty="0">
                <a:latin typeface="Calibri,Bold"/>
              </a:rPr>
              <a:t>Enseignemen</a:t>
            </a:r>
            <a:r>
              <a:rPr lang="en-US" sz="1672" b="0" i="0" spc="-11" baseline="23276" dirty="0">
                <a:latin typeface="Calibri,Bold"/>
              </a:rPr>
              <a:t>t</a:t>
            </a:r>
            <a:r>
              <a:rPr lang="en-US" sz="1672" b="0" i="0" spc="0" baseline="23276" dirty="0">
                <a:latin typeface="Calibri,Bold"/>
              </a:rPr>
              <a:t> 2 	</a:t>
            </a:r>
            <a:r>
              <a:rPr lang="en-US" sz="1671" b="0" i="0" spc="0" baseline="-3260" dirty="0">
                <a:latin typeface="Calibri,Bold"/>
              </a:rPr>
              <a:t>Témoi</a:t>
            </a:r>
            <a:r>
              <a:rPr lang="en-US" sz="1671" b="0" i="0" spc="-16" baseline="-3260" dirty="0">
                <a:latin typeface="Calibri,Bold"/>
              </a:rPr>
              <a:t>n</a:t>
            </a:r>
            <a:r>
              <a:rPr lang="en-US" sz="1671" b="0" i="0" spc="0" baseline="-3260" dirty="0">
                <a:latin typeface="Calibri,Bold"/>
              </a:rPr>
              <a:t> 	</a:t>
            </a:r>
            <a:r>
              <a:rPr lang="en-US" sz="1403" b="0" i="0" spc="0" baseline="0" dirty="0">
                <a:solidFill>
                  <a:srgbClr val="FFFFFF"/>
                </a:solidFill>
                <a:latin typeface="Calibri"/>
              </a:rPr>
              <a:t>Partages 	</a:t>
            </a:r>
            <a:r>
              <a:rPr lang="en-US" sz="1672" b="0" i="0" spc="0" baseline="-22825" dirty="0">
                <a:latin typeface="Calibri,Bold"/>
              </a:rPr>
              <a:t>Témoi</a:t>
            </a:r>
            <a:r>
              <a:rPr lang="en-US" sz="1672" b="0" i="0" spc="-16" baseline="-22825" dirty="0">
                <a:latin typeface="Calibri,Bold"/>
              </a:rPr>
              <a:t>n</a:t>
            </a:r>
            <a:r>
              <a:rPr lang="en-US" sz="1672" b="0" i="0" spc="0" baseline="-22825" dirty="0">
                <a:latin typeface="Calibri,Bold"/>
              </a:rPr>
              <a:t> </a:t>
            </a:r>
          </a:p>
        </p:txBody>
      </p:sp>
      <p:sp>
        <p:nvSpPr>
          <p:cNvPr id="316" name="Rectangle 316"/>
          <p:cNvSpPr/>
          <p:nvPr/>
        </p:nvSpPr>
        <p:spPr>
          <a:xfrm>
            <a:off x="1080515" y="7569355"/>
            <a:ext cx="5498253" cy="3189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1429511" algn="l"/>
                <a:tab pos="2458211" algn="l"/>
                <a:tab pos="4163566" algn="l"/>
              </a:tabLst>
            </a:pPr>
            <a:r>
              <a:rPr lang="en-US" sz="1103" b="0" i="0" spc="0" baseline="0" dirty="0">
                <a:latin typeface="Calibri,Bold"/>
              </a:rPr>
              <a:t>Enseignemen</a:t>
            </a:r>
            <a:r>
              <a:rPr lang="en-US" sz="1103" b="0" i="0" spc="-11" baseline="0" dirty="0">
                <a:latin typeface="Calibri,Bold"/>
              </a:rPr>
              <a:t>t</a:t>
            </a:r>
            <a:r>
              <a:rPr lang="en-US" sz="1103" b="0" i="0" spc="0" baseline="0" dirty="0">
                <a:latin typeface="Calibri,Bold"/>
              </a:rPr>
              <a:t> 3 	</a:t>
            </a:r>
            <a:r>
              <a:rPr lang="en-US" sz="1671" b="0" i="0" spc="0" baseline="-39130" dirty="0">
                <a:latin typeface="Calibri,Bold"/>
              </a:rPr>
              <a:t>Témoi</a:t>
            </a:r>
            <a:r>
              <a:rPr lang="en-US" sz="1671" b="0" i="0" spc="-16" baseline="-39130" dirty="0">
                <a:latin typeface="Calibri,Bold"/>
              </a:rPr>
              <a:t>n</a:t>
            </a:r>
            <a:r>
              <a:rPr lang="en-US" sz="1671" b="0" i="0" spc="0" baseline="-39130" dirty="0">
                <a:latin typeface="Calibri,Bold"/>
              </a:rPr>
              <a:t> 	</a:t>
            </a:r>
            <a:r>
              <a:rPr lang="en-US" sz="1671" b="0" i="0" spc="0" baseline="-14130" dirty="0">
                <a:latin typeface="Calibri,Bold"/>
              </a:rPr>
              <a:t>Enseignemen</a:t>
            </a:r>
            <a:r>
              <a:rPr lang="en-US" sz="1671" b="0" i="0" spc="-11" baseline="-14130" dirty="0">
                <a:latin typeface="Calibri,Bold"/>
              </a:rPr>
              <a:t>t</a:t>
            </a:r>
            <a:r>
              <a:rPr lang="en-US" sz="1671" b="0" i="0" spc="0" baseline="-14130" dirty="0">
                <a:latin typeface="Calibri,Bold"/>
              </a:rPr>
              <a:t> 4 	</a:t>
            </a:r>
            <a:r>
              <a:rPr lang="en-US" sz="1671" b="0" i="0" spc="0" baseline="7608" dirty="0">
                <a:solidFill>
                  <a:srgbClr val="FFFFFF"/>
                </a:solidFill>
                <a:latin typeface="Calibri,Bold"/>
              </a:rPr>
              <a:t>Approfondissement e</a:t>
            </a:r>
            <a:r>
              <a:rPr lang="en-US" sz="1671" b="0" i="0" spc="-10" baseline="7608" dirty="0">
                <a:solidFill>
                  <a:srgbClr val="FFFFFF"/>
                </a:solidFill>
                <a:latin typeface="Calibri,Bold"/>
              </a:rPr>
              <a:t>t</a:t>
            </a:r>
            <a:r>
              <a:rPr lang="en-US" sz="1671" b="0" i="0" spc="0" baseline="7608" dirty="0">
                <a:solidFill>
                  <a:srgbClr val="FFFFFF"/>
                </a:solidFill>
                <a:latin typeface="Calibri,Bold"/>
              </a:rPr>
              <a:t> </a:t>
            </a:r>
          </a:p>
          <a:p>
            <a:pPr marL="4616194">
              <a:lnSpc>
                <a:spcPts val="935"/>
              </a:lnSpc>
            </a:pPr>
            <a:r>
              <a:rPr lang="en-US" sz="1103" b="0" i="0" spc="0" baseline="0" dirty="0">
                <a:solidFill>
                  <a:srgbClr val="FFFFFF"/>
                </a:solidFill>
                <a:latin typeface="Calibri,Bold"/>
              </a:rPr>
              <a:t>écoute 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E3F7B9-EB72-4F4E-A9F9-EBE4B89F0666}"/>
              </a:ext>
            </a:extLst>
          </p:cNvPr>
          <p:cNvSpPr/>
          <p:nvPr/>
        </p:nvSpPr>
        <p:spPr>
          <a:xfrm>
            <a:off x="1093064" y="2942839"/>
            <a:ext cx="5485704" cy="1040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>
              <a:lnSpc>
                <a:spcPts val="1691"/>
              </a:lnSpc>
              <a:tabLst>
                <a:tab pos="635507" algn="l"/>
                <a:tab pos="858011" algn="l"/>
                <a:tab pos="1118615" algn="l"/>
                <a:tab pos="1920238" algn="l"/>
                <a:tab pos="2235706" algn="l"/>
                <a:tab pos="2772155" algn="l"/>
                <a:tab pos="3297934" algn="l"/>
                <a:tab pos="3777995" algn="l"/>
                <a:tab pos="4654296" algn="l"/>
                <a:tab pos="4922519" algn="l"/>
              </a:tabLst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Au programme </a:t>
            </a:r>
            <a:r>
              <a:rPr lang="fr-FR" sz="1300" b="0" i="0" spc="0" baseline="0" dirty="0">
                <a:solidFill>
                  <a:srgbClr val="333333"/>
                </a:solidFill>
                <a:latin typeface="Arial"/>
              </a:rPr>
              <a:t>: des enseignements par des prêtres et des laïcs</a:t>
            </a:r>
            <a:r>
              <a:rPr lang="fr-FR" sz="1300" dirty="0">
                <a:solidFill>
                  <a:srgbClr val="333333"/>
                </a:solidFill>
                <a:latin typeface="Arial"/>
              </a:rPr>
              <a:t> </a:t>
            </a:r>
            <a:br>
              <a:rPr lang="fr-FR" sz="1300" dirty="0">
                <a:solidFill>
                  <a:srgbClr val="333333"/>
                </a:solidFill>
                <a:latin typeface="Arial"/>
              </a:rPr>
            </a:br>
            <a:r>
              <a:rPr lang="fr-FR" sz="1300" b="0" i="0" spc="0" baseline="0" dirty="0">
                <a:solidFill>
                  <a:srgbClr val="333333"/>
                </a:solidFill>
                <a:latin typeface="Arial"/>
              </a:rPr>
              <a:t>formés 	à 	la 	théologie 	du 	corps 	selon 	saint 	Jean-Paul 	II, 	des </a:t>
            </a:r>
          </a:p>
          <a:p>
            <a:pPr marL="0">
              <a:lnSpc>
                <a:spcPts val="1704"/>
              </a:lnSpc>
            </a:pPr>
            <a:r>
              <a:rPr lang="fr-FR" sz="1300" b="0" i="0" spc="0" baseline="0" dirty="0">
                <a:solidFill>
                  <a:srgbClr val="333333"/>
                </a:solidFill>
                <a:latin typeface="Arial"/>
              </a:rPr>
              <a:t>témoignages, des ateliers, des temps de prière et de convivialité... </a:t>
            </a:r>
          </a:p>
          <a:p>
            <a:pPr marL="0">
              <a:lnSpc>
                <a:spcPts val="1704"/>
              </a:lnSpc>
            </a:pPr>
            <a:endParaRPr lang="fr-FR" sz="1300" dirty="0">
              <a:solidFill>
                <a:srgbClr val="333333"/>
              </a:solidFill>
              <a:latin typeface="Arial"/>
            </a:endParaRPr>
          </a:p>
          <a:p>
            <a:pPr marL="0" algn="ctr">
              <a:lnSpc>
                <a:spcPts val="1704"/>
              </a:lnSpc>
            </a:pPr>
            <a:r>
              <a:rPr lang="en-US" sz="1200" b="1" i="0" spc="0" baseline="0" dirty="0" err="1">
                <a:solidFill>
                  <a:srgbClr val="333333"/>
                </a:solidFill>
                <a:latin typeface="Arial"/>
              </a:rPr>
              <a:t>Samedi</a:t>
            </a:r>
            <a:r>
              <a:rPr lang="en-US" sz="1200" b="1" i="0" spc="0" baseline="0" dirty="0">
                <a:solidFill>
                  <a:srgbClr val="333333"/>
                </a:solidFill>
                <a:latin typeface="Arial"/>
              </a:rPr>
              <a:t> 2</a:t>
            </a:r>
            <a:r>
              <a:rPr lang="en-US" sz="1200" b="1" dirty="0">
                <a:solidFill>
                  <a:srgbClr val="333333"/>
                </a:solidFill>
                <a:latin typeface="Arial"/>
              </a:rPr>
              <a:t>6 mars 2022</a:t>
            </a:r>
            <a:endParaRPr lang="en-US" sz="1200" b="1" i="0" spc="0" baseline="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E6406578-B7A9-4988-ACDB-3ECC90E80413}"/>
              </a:ext>
            </a:extLst>
          </p:cNvPr>
          <p:cNvSpPr/>
          <p:nvPr/>
        </p:nvSpPr>
        <p:spPr>
          <a:xfrm>
            <a:off x="1093064" y="6339634"/>
            <a:ext cx="5485704" cy="866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algn="ctr">
              <a:lnSpc>
                <a:spcPts val="1704"/>
              </a:lnSpc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3h00 : Pique-nique</a:t>
            </a:r>
          </a:p>
          <a:p>
            <a:pPr marL="0" algn="ctr">
              <a:lnSpc>
                <a:spcPts val="1704"/>
              </a:lnSpc>
            </a:pPr>
            <a:endParaRPr lang="fr-FR" sz="1300" b="1" i="0" spc="0" baseline="0" dirty="0">
              <a:solidFill>
                <a:srgbClr val="333333"/>
              </a:solidFill>
              <a:latin typeface="Arial"/>
            </a:endParaRPr>
          </a:p>
          <a:p>
            <a:pPr marL="0" algn="l">
              <a:lnSpc>
                <a:spcPts val="1704"/>
              </a:lnSpc>
            </a:pPr>
            <a:r>
              <a:rPr lang="fr-FR" sz="1300" b="1" dirty="0">
                <a:solidFill>
                  <a:srgbClr val="333333"/>
                </a:solidFill>
                <a:latin typeface="Arial"/>
              </a:rPr>
              <a:t>14h30 – 15h : animation</a:t>
            </a:r>
          </a:p>
          <a:p>
            <a:pPr marL="0" algn="l">
              <a:lnSpc>
                <a:spcPts val="1704"/>
              </a:lnSpc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5h – 17h00 : Enseignements, témoignage, approfondissement</a:t>
            </a:r>
          </a:p>
          <a:p>
            <a:pPr marL="0" algn="ctr">
              <a:lnSpc>
                <a:spcPts val="1704"/>
              </a:lnSpc>
            </a:pPr>
            <a:endParaRPr lang="fr-FR" sz="1300" b="1" i="0" spc="0" baseline="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05E72CC-5474-4DD1-9D42-B062DD47175D}"/>
              </a:ext>
            </a:extLst>
          </p:cNvPr>
          <p:cNvSpPr/>
          <p:nvPr/>
        </p:nvSpPr>
        <p:spPr>
          <a:xfrm>
            <a:off x="1093064" y="8754359"/>
            <a:ext cx="5485704" cy="866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algn="l">
              <a:lnSpc>
                <a:spcPts val="1704"/>
              </a:lnSpc>
            </a:pPr>
            <a:r>
              <a:rPr lang="en-US" sz="1300" b="1" i="0" spc="0" baseline="0" dirty="0">
                <a:solidFill>
                  <a:srgbClr val="333333"/>
                </a:solidFill>
                <a:latin typeface="Arial"/>
              </a:rPr>
              <a:t>17h30  : Adoration, confession, </a:t>
            </a:r>
            <a:r>
              <a:rPr lang="en-US" sz="1300" b="1" i="0" spc="0" baseline="0" dirty="0" err="1">
                <a:solidFill>
                  <a:srgbClr val="333333"/>
                </a:solidFill>
                <a:latin typeface="Arial"/>
              </a:rPr>
              <a:t>écoute</a:t>
            </a:r>
            <a:r>
              <a:rPr lang="en-US" sz="1300" b="1" dirty="0">
                <a:solidFill>
                  <a:srgbClr val="333333"/>
                </a:solidFill>
                <a:latin typeface="Arial"/>
              </a:rPr>
              <a:t>.</a:t>
            </a:r>
            <a:endParaRPr lang="en-US" sz="1300" b="1" i="0" spc="0" baseline="0" dirty="0">
              <a:solidFill>
                <a:srgbClr val="333333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Picture 10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57400" y="1207003"/>
            <a:ext cx="3447288" cy="1839467"/>
          </a:xfrm>
          <a:prstGeom prst="rect">
            <a:avLst/>
          </a:prstGeom>
          <a:noFill/>
        </p:spPr>
      </p:pic>
      <p:pic>
        <p:nvPicPr>
          <p:cNvPr id="318" name="Picture 318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10639" y="4700012"/>
            <a:ext cx="454151" cy="451104"/>
          </a:xfrm>
          <a:prstGeom prst="rect">
            <a:avLst/>
          </a:prstGeom>
          <a:noFill/>
        </p:spPr>
      </p:pic>
      <p:pic>
        <p:nvPicPr>
          <p:cNvPr id="319" name="Picture 319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05327" y="7339579"/>
            <a:ext cx="493776" cy="490727"/>
          </a:xfrm>
          <a:prstGeom prst="rect">
            <a:avLst/>
          </a:prstGeom>
          <a:noFill/>
        </p:spPr>
      </p:pic>
      <p:pic>
        <p:nvPicPr>
          <p:cNvPr id="320" name="Picture 320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888735" y="7339579"/>
            <a:ext cx="490727" cy="490727"/>
          </a:xfrm>
          <a:prstGeom prst="rect">
            <a:avLst/>
          </a:prstGeom>
          <a:noFill/>
        </p:spPr>
      </p:pic>
      <p:sp>
        <p:nvSpPr>
          <p:cNvPr id="321" name="Freeform 321"/>
          <p:cNvSpPr/>
          <p:nvPr/>
        </p:nvSpPr>
        <p:spPr>
          <a:xfrm>
            <a:off x="4419599" y="4713728"/>
            <a:ext cx="1514855" cy="419099"/>
          </a:xfrm>
          <a:custGeom>
            <a:avLst/>
            <a:gdLst/>
            <a:ahLst/>
            <a:cxnLst/>
            <a:rect l="0" t="0" r="0" b="0"/>
            <a:pathLst>
              <a:path w="12623800" h="3492500">
                <a:moveTo>
                  <a:pt x="0" y="584200"/>
                </a:moveTo>
                <a:cubicBezTo>
                  <a:pt x="0" y="266700"/>
                  <a:pt x="266700" y="0"/>
                  <a:pt x="584200" y="0"/>
                </a:cubicBezTo>
                <a:lnTo>
                  <a:pt x="12039600" y="0"/>
                </a:lnTo>
                <a:cubicBezTo>
                  <a:pt x="12357100" y="0"/>
                  <a:pt x="12623800" y="266700"/>
                  <a:pt x="12623800" y="584200"/>
                </a:cubicBezTo>
                <a:lnTo>
                  <a:pt x="12623800" y="2921000"/>
                </a:lnTo>
                <a:cubicBezTo>
                  <a:pt x="12623800" y="3238500"/>
                  <a:pt x="12357100" y="3492500"/>
                  <a:pt x="12039600" y="3492500"/>
                </a:cubicBezTo>
                <a:lnTo>
                  <a:pt x="584200" y="3492500"/>
                </a:lnTo>
                <a:cubicBezTo>
                  <a:pt x="266700" y="3492500"/>
                  <a:pt x="0" y="3238500"/>
                  <a:pt x="0" y="2921000"/>
                </a:cubicBezTo>
              </a:path>
            </a:pathLst>
          </a:custGeom>
          <a:solidFill>
            <a:srgbClr val="FFC000">
              <a:alpha val="100000"/>
            </a:srgbClr>
          </a:solidFill>
          <a:ln w="152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2" name="Freeform 322"/>
          <p:cNvSpPr/>
          <p:nvPr/>
        </p:nvSpPr>
        <p:spPr>
          <a:xfrm>
            <a:off x="4419599" y="4713728"/>
            <a:ext cx="1514855" cy="419099"/>
          </a:xfrm>
          <a:custGeom>
            <a:avLst/>
            <a:gdLst/>
            <a:ahLst/>
            <a:cxnLst/>
            <a:rect l="0" t="0" r="0" b="0"/>
            <a:pathLst>
              <a:path w="12623800" h="3492500">
                <a:moveTo>
                  <a:pt x="0" y="584200"/>
                </a:moveTo>
                <a:cubicBezTo>
                  <a:pt x="0" y="266700"/>
                  <a:pt x="266700" y="0"/>
                  <a:pt x="584200" y="0"/>
                </a:cubicBezTo>
                <a:lnTo>
                  <a:pt x="12039600" y="0"/>
                </a:lnTo>
                <a:cubicBezTo>
                  <a:pt x="12357100" y="0"/>
                  <a:pt x="12623800" y="266700"/>
                  <a:pt x="12623800" y="584200"/>
                </a:cubicBezTo>
                <a:lnTo>
                  <a:pt x="12623800" y="2921000"/>
                </a:lnTo>
                <a:cubicBezTo>
                  <a:pt x="12623800" y="3238500"/>
                  <a:pt x="12357100" y="3492500"/>
                  <a:pt x="12039600" y="3492500"/>
                </a:cubicBezTo>
                <a:lnTo>
                  <a:pt x="584200" y="3492500"/>
                </a:lnTo>
                <a:cubicBezTo>
                  <a:pt x="266700" y="3492500"/>
                  <a:pt x="0" y="3238500"/>
                  <a:pt x="0" y="2921000"/>
                </a:cubicBezTo>
                <a:close/>
                <a:moveTo>
                  <a:pt x="12416408" y="498306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3" name="Freeform 323"/>
          <p:cNvSpPr/>
          <p:nvPr/>
        </p:nvSpPr>
        <p:spPr>
          <a:xfrm>
            <a:off x="2200655" y="4716776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300">
                <a:moveTo>
                  <a:pt x="0" y="2019300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019300" y="15240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24000"/>
                </a:lnTo>
                <a:lnTo>
                  <a:pt x="15265400" y="1524000"/>
                </a:lnTo>
                <a:lnTo>
                  <a:pt x="15265400" y="1016000"/>
                </a:lnTo>
                <a:lnTo>
                  <a:pt x="162687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51300"/>
                </a:lnTo>
                <a:lnTo>
                  <a:pt x="2019300" y="4051300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</a:path>
            </a:pathLst>
          </a:custGeom>
          <a:solidFill>
            <a:srgbClr val="4472C4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4" name="Freeform 324"/>
          <p:cNvSpPr/>
          <p:nvPr/>
        </p:nvSpPr>
        <p:spPr>
          <a:xfrm>
            <a:off x="2200655" y="4716776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300">
                <a:moveTo>
                  <a:pt x="0" y="2019300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019300" y="15240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24000"/>
                </a:lnTo>
                <a:lnTo>
                  <a:pt x="15265400" y="1524000"/>
                </a:lnTo>
                <a:lnTo>
                  <a:pt x="15265400" y="1016000"/>
                </a:lnTo>
                <a:lnTo>
                  <a:pt x="162687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51300"/>
                </a:lnTo>
                <a:lnTo>
                  <a:pt x="2019300" y="4051300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  <a:close/>
                <a:moveTo>
                  <a:pt x="29447108" y="498052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5" name="Freeform 325"/>
          <p:cNvSpPr/>
          <p:nvPr/>
        </p:nvSpPr>
        <p:spPr>
          <a:xfrm>
            <a:off x="3776471" y="7354820"/>
            <a:ext cx="1953767" cy="484631"/>
          </a:xfrm>
          <a:custGeom>
            <a:avLst/>
            <a:gdLst/>
            <a:ahLst/>
            <a:cxnLst/>
            <a:rect l="0" t="0" r="0" b="0"/>
            <a:pathLst>
              <a:path w="16281400" h="4038599">
                <a:moveTo>
                  <a:pt x="0" y="2019300"/>
                </a:moveTo>
                <a:lnTo>
                  <a:pt x="1016000" y="1003300"/>
                </a:lnTo>
                <a:lnTo>
                  <a:pt x="1016000" y="1511300"/>
                </a:lnTo>
                <a:lnTo>
                  <a:pt x="2019300" y="15113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11300"/>
                </a:lnTo>
                <a:lnTo>
                  <a:pt x="15265400" y="1511300"/>
                </a:lnTo>
                <a:lnTo>
                  <a:pt x="15265400" y="1003300"/>
                </a:lnTo>
                <a:lnTo>
                  <a:pt x="162814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38599"/>
                </a:lnTo>
                <a:lnTo>
                  <a:pt x="2019300" y="4038599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</a:path>
            </a:pathLst>
          </a:custGeom>
          <a:solidFill>
            <a:srgbClr val="4472C4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6" name="Freeform 326"/>
          <p:cNvSpPr/>
          <p:nvPr/>
        </p:nvSpPr>
        <p:spPr>
          <a:xfrm>
            <a:off x="3776471" y="7354820"/>
            <a:ext cx="1953767" cy="484631"/>
          </a:xfrm>
          <a:custGeom>
            <a:avLst/>
            <a:gdLst/>
            <a:ahLst/>
            <a:cxnLst/>
            <a:rect l="0" t="0" r="0" b="0"/>
            <a:pathLst>
              <a:path w="16281400" h="4038599">
                <a:moveTo>
                  <a:pt x="0" y="2019300"/>
                </a:moveTo>
                <a:lnTo>
                  <a:pt x="1016000" y="1003300"/>
                </a:lnTo>
                <a:lnTo>
                  <a:pt x="1016000" y="1511300"/>
                </a:lnTo>
                <a:lnTo>
                  <a:pt x="2019300" y="1511300"/>
                </a:lnTo>
                <a:lnTo>
                  <a:pt x="2019300" y="0"/>
                </a:lnTo>
                <a:lnTo>
                  <a:pt x="14262100" y="0"/>
                </a:lnTo>
                <a:lnTo>
                  <a:pt x="14262100" y="1511300"/>
                </a:lnTo>
                <a:lnTo>
                  <a:pt x="15265400" y="1511300"/>
                </a:lnTo>
                <a:lnTo>
                  <a:pt x="15265400" y="1003300"/>
                </a:lnTo>
                <a:lnTo>
                  <a:pt x="16281400" y="2019300"/>
                </a:lnTo>
                <a:lnTo>
                  <a:pt x="15265400" y="3035300"/>
                </a:lnTo>
                <a:lnTo>
                  <a:pt x="15265400" y="2527300"/>
                </a:lnTo>
                <a:lnTo>
                  <a:pt x="14262100" y="2527300"/>
                </a:lnTo>
                <a:lnTo>
                  <a:pt x="14262100" y="4038599"/>
                </a:lnTo>
                <a:lnTo>
                  <a:pt x="2019300" y="4038599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  <a:close/>
                <a:moveTo>
                  <a:pt x="-3763392" y="297265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7" name="Freeform 327"/>
          <p:cNvSpPr/>
          <p:nvPr/>
        </p:nvSpPr>
        <p:spPr>
          <a:xfrm>
            <a:off x="900683" y="7342628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299">
                <a:moveTo>
                  <a:pt x="0" y="2032000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019300" y="1524000"/>
                </a:lnTo>
                <a:lnTo>
                  <a:pt x="2019300" y="0"/>
                </a:lnTo>
                <a:lnTo>
                  <a:pt x="14249400" y="0"/>
                </a:lnTo>
                <a:lnTo>
                  <a:pt x="14249400" y="1524000"/>
                </a:lnTo>
                <a:lnTo>
                  <a:pt x="15252700" y="1524000"/>
                </a:lnTo>
                <a:lnTo>
                  <a:pt x="15252700" y="1016000"/>
                </a:lnTo>
                <a:lnTo>
                  <a:pt x="16268700" y="2032000"/>
                </a:lnTo>
                <a:lnTo>
                  <a:pt x="15252700" y="3035300"/>
                </a:lnTo>
                <a:lnTo>
                  <a:pt x="15252700" y="2527300"/>
                </a:lnTo>
                <a:lnTo>
                  <a:pt x="14249400" y="2527300"/>
                </a:lnTo>
                <a:lnTo>
                  <a:pt x="14249400" y="4051299"/>
                </a:lnTo>
                <a:lnTo>
                  <a:pt x="2019300" y="4051299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</a:path>
            </a:pathLst>
          </a:custGeom>
          <a:solidFill>
            <a:srgbClr val="4472C4">
              <a:alpha val="100000"/>
            </a:srgbClr>
          </a:solidFill>
          <a:ln w="1269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28" name="Freeform 328"/>
          <p:cNvSpPr/>
          <p:nvPr/>
        </p:nvSpPr>
        <p:spPr>
          <a:xfrm>
            <a:off x="900683" y="7342628"/>
            <a:ext cx="1952243" cy="486155"/>
          </a:xfrm>
          <a:custGeom>
            <a:avLst/>
            <a:gdLst/>
            <a:ahLst/>
            <a:cxnLst/>
            <a:rect l="0" t="0" r="0" b="0"/>
            <a:pathLst>
              <a:path w="16268700" h="4051299">
                <a:moveTo>
                  <a:pt x="0" y="2032000"/>
                </a:moveTo>
                <a:lnTo>
                  <a:pt x="1016000" y="1016000"/>
                </a:lnTo>
                <a:lnTo>
                  <a:pt x="1016000" y="1524000"/>
                </a:lnTo>
                <a:lnTo>
                  <a:pt x="2019300" y="1524000"/>
                </a:lnTo>
                <a:lnTo>
                  <a:pt x="2019300" y="0"/>
                </a:lnTo>
                <a:lnTo>
                  <a:pt x="14249400" y="0"/>
                </a:lnTo>
                <a:lnTo>
                  <a:pt x="14249400" y="1524000"/>
                </a:lnTo>
                <a:lnTo>
                  <a:pt x="15252700" y="1524000"/>
                </a:lnTo>
                <a:lnTo>
                  <a:pt x="15252700" y="1016000"/>
                </a:lnTo>
                <a:lnTo>
                  <a:pt x="16268700" y="2032000"/>
                </a:lnTo>
                <a:lnTo>
                  <a:pt x="15252700" y="3035300"/>
                </a:lnTo>
                <a:lnTo>
                  <a:pt x="15252700" y="2527300"/>
                </a:lnTo>
                <a:lnTo>
                  <a:pt x="14249400" y="2527300"/>
                </a:lnTo>
                <a:lnTo>
                  <a:pt x="14249400" y="4051299"/>
                </a:lnTo>
                <a:lnTo>
                  <a:pt x="2019300" y="4051299"/>
                </a:lnTo>
                <a:lnTo>
                  <a:pt x="2019300" y="2527300"/>
                </a:lnTo>
                <a:lnTo>
                  <a:pt x="1016000" y="2527300"/>
                </a:lnTo>
                <a:lnTo>
                  <a:pt x="1016000" y="3035300"/>
                </a:lnTo>
                <a:close/>
                <a:moveTo>
                  <a:pt x="20290408" y="29828108"/>
                </a:moveTo>
              </a:path>
            </a:pathLst>
          </a:custGeom>
          <a:noFill/>
          <a:ln w="12699" cap="flat" cmpd="sng">
            <a:solidFill>
              <a:srgbClr val="2F528F">
                <a:alpha val="100000"/>
              </a:srgbClr>
            </a:solidFill>
            <a:miter lim="1016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330" name="Rectangle 330"/>
          <p:cNvSpPr/>
          <p:nvPr/>
        </p:nvSpPr>
        <p:spPr>
          <a:xfrm>
            <a:off x="5503159" y="2902092"/>
            <a:ext cx="45730" cy="1894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295" b="0" i="0" spc="0" baseline="0" dirty="0">
                <a:solidFill>
                  <a:srgbClr val="333333"/>
                </a:solidFill>
                <a:latin typeface="Arial"/>
              </a:rPr>
              <a:t> </a:t>
            </a:r>
          </a:p>
        </p:txBody>
      </p:sp>
      <p:sp>
        <p:nvSpPr>
          <p:cNvPr id="367" name="Rectangle 367"/>
          <p:cNvSpPr/>
          <p:nvPr/>
        </p:nvSpPr>
        <p:spPr>
          <a:xfrm>
            <a:off x="899159" y="4148735"/>
            <a:ext cx="5110809" cy="268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>
              <a:lnSpc>
                <a:spcPts val="2411"/>
              </a:lnSpc>
            </a:pPr>
            <a:r>
              <a:rPr lang="en-US" sz="1295" b="1" i="0" spc="0" baseline="0" dirty="0">
                <a:solidFill>
                  <a:srgbClr val="333333"/>
                </a:solidFill>
                <a:latin typeface="Arial"/>
              </a:rPr>
              <a:t>10h30 - 12h30 : Reprise du samedi, Enseignement et pause-café </a:t>
            </a:r>
          </a:p>
        </p:txBody>
      </p:sp>
      <p:sp>
        <p:nvSpPr>
          <p:cNvPr id="407" name="Rectangle 407"/>
          <p:cNvSpPr/>
          <p:nvPr/>
        </p:nvSpPr>
        <p:spPr>
          <a:xfrm>
            <a:off x="899159" y="5005212"/>
            <a:ext cx="915934" cy="1894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870204" algn="l"/>
              </a:tabLst>
            </a:pPr>
            <a:r>
              <a:rPr lang="en-US" sz="1295" b="0" i="0" spc="0" baseline="0" dirty="0">
                <a:solidFill>
                  <a:srgbClr val="333333"/>
                </a:solidFill>
                <a:latin typeface="Arial"/>
              </a:rPr>
              <a:t>         	 </a:t>
            </a:r>
          </a:p>
        </p:txBody>
      </p:sp>
      <p:sp>
        <p:nvSpPr>
          <p:cNvPr id="458" name="Rectangle 458"/>
          <p:cNvSpPr/>
          <p:nvPr/>
        </p:nvSpPr>
        <p:spPr>
          <a:xfrm>
            <a:off x="899159" y="7684402"/>
            <a:ext cx="5530597" cy="1894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2604516" algn="l"/>
                <a:tab pos="5484867" algn="l"/>
              </a:tabLst>
            </a:pPr>
            <a:r>
              <a:rPr lang="en-US" sz="1295" b="0" i="0" spc="0" baseline="0" dirty="0">
                <a:solidFill>
                  <a:srgbClr val="333333"/>
                </a:solidFill>
                <a:latin typeface="Arial"/>
              </a:rPr>
              <a:t>                                              	                                                    	 </a:t>
            </a:r>
          </a:p>
        </p:txBody>
      </p:sp>
      <p:sp>
        <p:nvSpPr>
          <p:cNvPr id="479" name="Rectangle 479"/>
          <p:cNvSpPr/>
          <p:nvPr/>
        </p:nvSpPr>
        <p:spPr>
          <a:xfrm>
            <a:off x="2595370" y="4787253"/>
            <a:ext cx="3105593" cy="1928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2116835" algn="l"/>
              </a:tabLst>
            </a:pPr>
            <a:r>
              <a:rPr lang="en-US" sz="1816" b="0" i="0" spc="0" baseline="-23000" dirty="0">
                <a:latin typeface="Calibri,Bold"/>
              </a:rPr>
              <a:t>Reprise du samedi 	</a:t>
            </a:r>
            <a:r>
              <a:rPr lang="en-US" sz="1103" b="0" i="0" spc="0" baseline="0" dirty="0">
                <a:latin typeface="Calibri,Bold"/>
              </a:rPr>
              <a:t>Enseignemen</a:t>
            </a:r>
            <a:r>
              <a:rPr lang="en-US" sz="1103" b="0" i="0" spc="-11" baseline="0" dirty="0">
                <a:latin typeface="Calibri,Bold"/>
              </a:rPr>
              <a:t>t</a:t>
            </a:r>
            <a:r>
              <a:rPr lang="en-US" sz="1103" b="0" i="0" spc="0" baseline="0" dirty="0">
                <a:latin typeface="Calibri,Bold"/>
              </a:rPr>
              <a:t> 5  </a:t>
            </a:r>
          </a:p>
        </p:txBody>
      </p:sp>
      <p:sp>
        <p:nvSpPr>
          <p:cNvPr id="480" name="Rectangle 480"/>
          <p:cNvSpPr/>
          <p:nvPr/>
        </p:nvSpPr>
        <p:spPr>
          <a:xfrm>
            <a:off x="1604771" y="7460348"/>
            <a:ext cx="3486280" cy="15782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tabLst>
                <a:tab pos="2877311" algn="l"/>
              </a:tabLst>
            </a:pPr>
            <a:r>
              <a:rPr lang="en-US" sz="1816" b="0" i="0" spc="0" baseline="7999" dirty="0">
                <a:latin typeface="Calibri,Bold"/>
              </a:rPr>
              <a:t>Atelier 1 	</a:t>
            </a:r>
            <a:r>
              <a:rPr lang="en-US" sz="1199" b="0" i="0" spc="0" baseline="0" dirty="0">
                <a:latin typeface="Calibri,Bold"/>
              </a:rPr>
              <a:t>Atelier 2  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C32FBDDE-2F8A-4B15-B5A6-8F6A8122AFD3}"/>
              </a:ext>
            </a:extLst>
          </p:cNvPr>
          <p:cNvSpPr/>
          <p:nvPr/>
        </p:nvSpPr>
        <p:spPr>
          <a:xfrm>
            <a:off x="1815093" y="3307242"/>
            <a:ext cx="4044992" cy="340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>
              <a:lnSpc>
                <a:spcPts val="1691"/>
              </a:lnSpc>
              <a:tabLst>
                <a:tab pos="635507" algn="l"/>
                <a:tab pos="858011" algn="l"/>
                <a:tab pos="1118615" algn="l"/>
                <a:tab pos="1920238" algn="l"/>
                <a:tab pos="2235706" algn="l"/>
                <a:tab pos="2772155" algn="l"/>
                <a:tab pos="3297934" algn="l"/>
                <a:tab pos="3777995" algn="l"/>
                <a:tab pos="4654296" algn="l"/>
                <a:tab pos="4922519" algn="l"/>
              </a:tabLst>
            </a:pPr>
            <a:r>
              <a:rPr lang="fr-FR" sz="1300" b="1" dirty="0">
                <a:solidFill>
                  <a:srgbClr val="333333"/>
                </a:solidFill>
                <a:latin typeface="Arial"/>
              </a:rPr>
              <a:t>Dimanche 27 mars 2022 – 9h15 – 17h30</a:t>
            </a:r>
            <a:endParaRPr lang="en-US" sz="1300" b="1" i="0" spc="0" baseline="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5092CAB8-5AFE-49EC-AA6C-48480F396653}"/>
              </a:ext>
            </a:extLst>
          </p:cNvPr>
          <p:cNvSpPr/>
          <p:nvPr/>
        </p:nvSpPr>
        <p:spPr>
          <a:xfrm>
            <a:off x="1612844" y="3716140"/>
            <a:ext cx="4448743" cy="519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algn="ctr">
              <a:lnSpc>
                <a:spcPts val="1691"/>
              </a:lnSpc>
              <a:tabLst>
                <a:tab pos="635507" algn="l"/>
                <a:tab pos="858011" algn="l"/>
                <a:tab pos="1118615" algn="l"/>
                <a:tab pos="1920238" algn="l"/>
                <a:tab pos="2235706" algn="l"/>
                <a:tab pos="2772155" algn="l"/>
                <a:tab pos="3297934" algn="l"/>
                <a:tab pos="3777995" algn="l"/>
                <a:tab pos="4654296" algn="l"/>
                <a:tab pos="4922519" algn="l"/>
              </a:tabLst>
            </a:pPr>
            <a:r>
              <a:rPr lang="fr-FR" sz="1300" b="1" dirty="0">
                <a:solidFill>
                  <a:srgbClr val="0070C0"/>
                </a:solidFill>
                <a:latin typeface="Arial"/>
              </a:rPr>
              <a:t>9h  Accueil </a:t>
            </a:r>
          </a:p>
          <a:p>
            <a:pPr marL="0" algn="ctr">
              <a:lnSpc>
                <a:spcPts val="1691"/>
              </a:lnSpc>
              <a:tabLst>
                <a:tab pos="635507" algn="l"/>
                <a:tab pos="858011" algn="l"/>
                <a:tab pos="1118615" algn="l"/>
                <a:tab pos="1920238" algn="l"/>
                <a:tab pos="2235706" algn="l"/>
                <a:tab pos="2772155" algn="l"/>
                <a:tab pos="3297934" algn="l"/>
                <a:tab pos="3777995" algn="l"/>
                <a:tab pos="4654296" algn="l"/>
                <a:tab pos="4922519" algn="l"/>
              </a:tabLst>
            </a:pPr>
            <a:r>
              <a:rPr lang="fr-FR" sz="1300" b="1" dirty="0">
                <a:solidFill>
                  <a:srgbClr val="0070C0"/>
                </a:solidFill>
                <a:latin typeface="Arial"/>
              </a:rPr>
              <a:t>9h30 Messe </a:t>
            </a:r>
            <a:endParaRPr lang="en-US" sz="1300" b="1" i="0" spc="0" baseline="0" dirty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EC1B383A-1B5D-4BC2-A96A-3C9A6B9F2A69}"/>
              </a:ext>
            </a:extLst>
          </p:cNvPr>
          <p:cNvSpPr/>
          <p:nvPr/>
        </p:nvSpPr>
        <p:spPr>
          <a:xfrm>
            <a:off x="1265685" y="5484957"/>
            <a:ext cx="5485704" cy="13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algn="ctr">
              <a:lnSpc>
                <a:spcPts val="1704"/>
              </a:lnSpc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2h30 : Pique-nique</a:t>
            </a:r>
          </a:p>
          <a:p>
            <a:pPr marL="0" algn="ctr">
              <a:lnSpc>
                <a:spcPts val="1704"/>
              </a:lnSpc>
            </a:pPr>
            <a:endParaRPr lang="fr-FR" sz="1300" b="1" i="0" spc="0" baseline="0" dirty="0">
              <a:solidFill>
                <a:srgbClr val="333333"/>
              </a:solidFill>
              <a:latin typeface="Arial"/>
            </a:endParaRPr>
          </a:p>
          <a:p>
            <a:pPr marL="0" algn="l">
              <a:lnSpc>
                <a:spcPts val="1704"/>
              </a:lnSpc>
              <a:spcAft>
                <a:spcPts val="600"/>
              </a:spcAft>
            </a:pPr>
            <a:r>
              <a:rPr lang="fr-FR" sz="1300" b="1" dirty="0">
                <a:solidFill>
                  <a:srgbClr val="333333"/>
                </a:solidFill>
                <a:latin typeface="Arial"/>
              </a:rPr>
              <a:t>13h45 – 14h30 : Forum de questions</a:t>
            </a:r>
          </a:p>
          <a:p>
            <a:pPr marL="0" algn="l">
              <a:lnSpc>
                <a:spcPts val="1704"/>
              </a:lnSpc>
              <a:spcAft>
                <a:spcPts val="600"/>
              </a:spcAft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4h30 – 14h45</a:t>
            </a:r>
            <a:r>
              <a:rPr lang="fr-FR" sz="1300" b="1" i="0" spc="0" dirty="0">
                <a:solidFill>
                  <a:srgbClr val="333333"/>
                </a:solidFill>
                <a:latin typeface="Arial"/>
              </a:rPr>
              <a:t> </a:t>
            </a: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: Propositions </a:t>
            </a:r>
            <a:r>
              <a:rPr lang="fr-FR" sz="1300" b="1" dirty="0">
                <a:solidFill>
                  <a:srgbClr val="333333"/>
                </a:solidFill>
                <a:latin typeface="Arial"/>
              </a:rPr>
              <a:t>pour la suite</a:t>
            </a:r>
          </a:p>
          <a:p>
            <a:pPr marL="0" algn="l">
              <a:lnSpc>
                <a:spcPts val="1704"/>
              </a:lnSpc>
              <a:spcAft>
                <a:spcPts val="600"/>
              </a:spcAft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4h45-16h45 : Ateliers 1 et 2 « Apprendre à témoigner »</a:t>
            </a:r>
          </a:p>
          <a:p>
            <a:pPr marL="0" algn="ctr">
              <a:lnSpc>
                <a:spcPts val="1704"/>
              </a:lnSpc>
            </a:pPr>
            <a:endParaRPr lang="fr-FR" sz="1300" b="1" i="0" spc="0" baseline="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192F1F9-7F1F-4781-8F1E-9671308B1DBC}"/>
              </a:ext>
            </a:extLst>
          </p:cNvPr>
          <p:cNvSpPr/>
          <p:nvPr/>
        </p:nvSpPr>
        <p:spPr>
          <a:xfrm>
            <a:off x="1217673" y="8487363"/>
            <a:ext cx="5485704" cy="13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algn="ctr">
              <a:lnSpc>
                <a:spcPts val="1704"/>
              </a:lnSpc>
            </a:pPr>
            <a:r>
              <a:rPr lang="fr-FR" sz="1300" b="1" i="0" spc="0" baseline="0" dirty="0">
                <a:solidFill>
                  <a:srgbClr val="333333"/>
                </a:solidFill>
                <a:latin typeface="Arial"/>
              </a:rPr>
              <a:t>16h45 : Conclusion</a:t>
            </a:r>
            <a:endParaRPr lang="fr-FR" sz="1300" i="0" spc="0" baseline="0" dirty="0">
              <a:solidFill>
                <a:srgbClr val="333333"/>
              </a:solidFill>
              <a:latin typeface="Arial"/>
            </a:endParaRPr>
          </a:p>
          <a:p>
            <a:pPr marL="0" algn="ctr">
              <a:lnSpc>
                <a:spcPts val="1704"/>
              </a:lnSpc>
            </a:pPr>
            <a:endParaRPr lang="fr-FR" sz="1300" b="1" i="0" spc="0" baseline="0" dirty="0">
              <a:solidFill>
                <a:srgbClr val="333333"/>
              </a:solidFill>
              <a:latin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noFill/>
        <a:pattFill/>
        <a:grpFill/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</Words>
  <Application>Microsoft Office PowerPoint</Application>
  <PresentationFormat>Personnalisé</PresentationFormat>
  <Paragraphs>32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Calibri</vt:lpstr>
      <vt:lpstr>Calibri,Bold</vt:lpstr>
      <vt:lpstr>Arial</vt:lpstr>
      <vt:lpstr>Office Theme</vt:lpstr>
      <vt:lpstr>think-cell Slide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me_forum_wahou_melun</dc:title>
  <cp:lastModifiedBy>Florence Prémont</cp:lastModifiedBy>
  <cp:revision>7</cp:revision>
  <dcterms:modified xsi:type="dcterms:W3CDTF">2021-11-23T09:23:06Z</dcterms:modified>
</cp:coreProperties>
</file>